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Ex1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507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47-4884-A359-C5B5E010F98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047-4884-A359-C5B5E010F98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047-4884-A359-C5B5E010F9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286200640"/>
        <c:axId val="286198240"/>
      </c:barChart>
      <c:catAx>
        <c:axId val="286200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198240"/>
        <c:crosses val="autoZero"/>
        <c:auto val="1"/>
        <c:lblAlgn val="ctr"/>
        <c:lblOffset val="100"/>
        <c:noMultiLvlLbl val="0"/>
      </c:catAx>
      <c:valAx>
        <c:axId val="2861982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200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157C4D19-0FC1-450C-815A-53E65F58DE0A}">
          <cx:tx>
            <cx:txData>
              <cx:f>Sheet1!$B$1</cx:f>
              <cx:v>Series1</cx:v>
            </cx:txData>
          </cx:tx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/>
            </a:pPr>
            <a:endParaRPr lang="en-US" sz="1197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  <cx:axis id="1">
        <cx:val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400"/>
            </a:pPr>
            <a:endParaRPr lang="en-US" sz="1400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400"/>
          </a:pPr>
          <a:endParaRPr lang="en-US" sz="1400" b="0" i="0" u="none" strike="noStrike" baseline="0">
            <a:solidFill>
              <a:prstClr val="black">
                <a:lumMod val="65000"/>
                <a:lumOff val="35000"/>
              </a:prstClr>
            </a:solidFill>
            <a:latin typeface="Arial"/>
          </a:endParaRPr>
        </a:p>
      </cx:txPr>
    </cx:legend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microsoft.com/office/2014/relationships/chartEx" Target="../charts/chartEx1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F2A075-FA12-D1B6-C4B3-0417D5A772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FF80547-FC8F-747D-1C1A-7F8DD3BFB9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F80547-FC8F-747D-1C1A-7F8DD3BFB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EB9822A5-FBBC-EFEC-CBBD-91708CE2A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Waterfall / Stacked Column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496C707-2950-5227-1CDB-7E3D2EFF7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01707FFA-E5CB-00DB-87B2-39EEE61E87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B7E71737-1559-EDFA-1748-B5676B6E6D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53BCFE7F-04BF-6809-65C0-7540D2ADD20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7" name="Chart Placeholder 6">
            <a:extLst>
              <a:ext uri="{FF2B5EF4-FFF2-40B4-BE49-F238E27FC236}">
                <a16:creationId xmlns:a16="http://schemas.microsoft.com/office/drawing/2014/main" id="{96647B28-F69D-BE86-9E4F-1CEA995F7434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0" name="Chart Placeholder 5">
                <a:extLst>
                  <a:ext uri="{FF2B5EF4-FFF2-40B4-BE49-F238E27FC236}">
                    <a16:creationId xmlns:a16="http://schemas.microsoft.com/office/drawing/2014/main" id="{1BF01F4E-EB20-82B5-B10E-A204F3822806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5245100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10" name="Chart Placeholder 5">
                <a:extLst>
                  <a:ext uri="{FF2B5EF4-FFF2-40B4-BE49-F238E27FC236}">
                    <a16:creationId xmlns:a16="http://schemas.microsoft.com/office/drawing/2014/main" id="{1BF01F4E-EB20-82B5-B10E-A204F382280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54038" y="1720850"/>
                <a:ext cx="5245100" cy="4456113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5561104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7</TotalTime>
  <Words>2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Waterfall / Stack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86</cp:revision>
  <dcterms:created xsi:type="dcterms:W3CDTF">2025-07-09T10:57:17Z</dcterms:created>
  <dcterms:modified xsi:type="dcterms:W3CDTF">2025-10-22T10:12:25Z</dcterms:modified>
  <cp:category/>
</cp:coreProperties>
</file>